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47" r:id="rId18"/>
  </p:sldIdLst>
  <p:sldSz cx="9144000" cy="6858000" type="screen4x3"/>
  <p:notesSz cx="6797675" cy="9926638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11" autoAdjust="0"/>
    <p:restoredTop sz="94764" autoAdjust="0"/>
  </p:normalViewPr>
  <p:slideViewPr>
    <p:cSldViewPr snapToGrid="0" snapToObjects="1" showGuides="1">
      <p:cViewPr>
        <p:scale>
          <a:sx n="120" d="100"/>
          <a:sy n="120" d="100"/>
        </p:scale>
        <p:origin x="1320" y="144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3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3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3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111578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1115782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340529" y="3848423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775018" y="3836702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2023158" y="3674966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4275885" y="2679314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743824" y="4412529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002012" y="4412529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4254739" y="440697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408083" y="2230304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66210" y="2230304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49706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38300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87432" y="2230304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51084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50395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63496" y="2236199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34171" y="2535544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38989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43118" y="2535543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64331" y="1560664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39478" y="1567883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543323" y="3114303"/>
            <a:ext cx="1278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3124395" y="3115685"/>
            <a:ext cx="13408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730456" y="3114303"/>
            <a:ext cx="13819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ggf.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348622" y="3114303"/>
            <a:ext cx="1302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43022" y="3989324"/>
            <a:ext cx="39263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angelehnt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an das CRISP-DM Modell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87491" y="2242027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52090" y="2541438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46717" y="1847980"/>
            <a:ext cx="9046167" cy="21392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3310" y="1589483"/>
            <a:ext cx="24893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&amp; Analytics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53871" y="3111925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quelle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861491" y="3111631"/>
            <a:ext cx="1298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Kommunikation der Antwort an Stakeholder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807788" y="2966781"/>
            <a:ext cx="1278615" cy="78903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43323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24395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54737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32486" y="2428222"/>
            <a:ext cx="307348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53132" y="2063903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30456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48622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61491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5107" y="2040359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C887B61-BBF4-8F4F-8398-59193D63AD04}"/>
              </a:ext>
            </a:extLst>
          </p:cNvPr>
          <p:cNvSpPr txBox="1"/>
          <p:nvPr/>
        </p:nvSpPr>
        <p:spPr>
          <a:xfrm>
            <a:off x="7180122" y="2800869"/>
            <a:ext cx="17216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om PC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(oder anderer Quelle)) </a:t>
            </a:r>
            <a:br>
              <a:rPr lang="de-DE" sz="1000" dirty="0">
                <a:latin typeface="+mn-lt"/>
                <a:cs typeface="Arial" panose="020B0604020202020204" pitchFamily="34" charset="0"/>
              </a:rPr>
            </a:br>
            <a:r>
              <a:rPr lang="de-DE" sz="1000" dirty="0">
                <a:latin typeface="+mn-lt"/>
                <a:cs typeface="Arial" panose="020B0604020202020204" pitchFamily="34" charset="0"/>
              </a:rPr>
              <a:t>in R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180122" y="2241616"/>
            <a:ext cx="17216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>
                <a:solidFill>
                  <a:schemeClr val="tx1"/>
                </a:solidFill>
              </a:rPr>
              <a:t>Gelegentlich auch aus </a:t>
            </a:r>
            <a:r>
              <a:rPr lang="de-DE" sz="1600" b="0" dirty="0">
                <a:solidFill>
                  <a:schemeClr val="tx1"/>
                </a:solidFill>
              </a:rPr>
              <a:t>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260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F5F8228-FB70-0B4E-877D-A14DF7B1E7F6}"/>
              </a:ext>
            </a:extLst>
          </p:cNvPr>
          <p:cNvSpPr/>
          <p:nvPr/>
        </p:nvSpPr>
        <p:spPr>
          <a:xfrm>
            <a:off x="7124688" y="1053046"/>
            <a:ext cx="1721639" cy="238181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Lösung: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679E9B"/>
                </a:solidFill>
                <a:latin typeface="Courier New" panose="02070309020205020404" pitchFamily="49" charset="0"/>
              </a:rPr>
              <a:t> </a:t>
            </a:r>
            <a:r>
              <a:rPr lang="de-DE" sz="1800" b="0" dirty="0">
                <a:solidFill>
                  <a:schemeClr val="tx1"/>
                </a:solidFill>
              </a:rPr>
              <a:t>verwendet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</a:rPr>
              <a:t> und bietet viele </a:t>
            </a:r>
            <a:br>
              <a:rPr lang="de-DE" sz="1800" b="0" dirty="0">
                <a:solidFill>
                  <a:schemeClr val="tx1"/>
                </a:solidFill>
              </a:rPr>
            </a:br>
            <a:r>
              <a:rPr lang="de-DE" sz="1800" b="0" dirty="0">
                <a:solidFill>
                  <a:schemeClr val="tx1"/>
                </a:solidFill>
              </a:rPr>
              <a:t>Möglichkeiten Daten zu manipulieren: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0B308CB-E4D7-844A-A3D1-0CE86113AF10}"/>
              </a:ext>
            </a:extLst>
          </p:cNvPr>
          <p:cNvSpPr txBox="1"/>
          <p:nvPr/>
        </p:nvSpPr>
        <p:spPr>
          <a:xfrm>
            <a:off x="7183842" y="2802251"/>
            <a:ext cx="16562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ariablen aus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obachtungen fi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Fehlende Werte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aggreg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cs typeface="Arial" panose="020B0604020202020204" pitchFamily="34" charset="0"/>
              </a:rPr>
              <a:t>Daten sor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Ausreißer behand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Transformation von variabl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3E333B1-F932-BD41-BE7E-F1D683EFC5D1}"/>
              </a:ext>
            </a:extLst>
          </p:cNvPr>
          <p:cNvSpPr/>
          <p:nvPr/>
        </p:nvSpPr>
        <p:spPr>
          <a:xfrm>
            <a:off x="7124688" y="1053046"/>
            <a:ext cx="1721639" cy="331966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b="1" dirty="0"/>
              <a:t>Summary</a:t>
            </a:r>
            <a:r>
              <a:rPr lang="de-DE" sz="1600" dirty="0"/>
              <a:t>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(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b="0" dirty="0">
                <a:solidFill>
                  <a:srgbClr val="262626"/>
                </a:solidFill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35267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5833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„CS3-Visualisierungen-mit-Mosaic“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592C223-44FC-6A44-BDEC-63C4EF4690D0}"/>
              </a:ext>
            </a:extLst>
          </p:cNvPr>
          <p:cNvSpPr txBox="1"/>
          <p:nvPr/>
        </p:nvSpPr>
        <p:spPr>
          <a:xfrm>
            <a:off x="7183842" y="2800869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Beschreibende Statistiken berech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Daten visualis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Verteilung der Variablen beschreib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DF1CF27-C8C5-9348-9299-9CFE884DAB93}"/>
              </a:ext>
            </a:extLst>
          </p:cNvPr>
          <p:cNvSpPr/>
          <p:nvPr/>
        </p:nvSpPr>
        <p:spPr>
          <a:xfrm>
            <a:off x="7124688" y="1058123"/>
            <a:ext cx="1721639" cy="27636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F59C710-7DC9-C54E-925F-DA9EDF691D13}"/>
              </a:ext>
            </a:extLst>
          </p:cNvPr>
          <p:cNvSpPr txBox="1"/>
          <p:nvPr/>
        </p:nvSpPr>
        <p:spPr>
          <a:xfrm>
            <a:off x="7214690" y="2794975"/>
            <a:ext cx="16562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Statistische Hypothesente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latin typeface="+mn-lt"/>
                <a:cs typeface="Arial" panose="020B0604020202020204" pitchFamily="34" charset="0"/>
              </a:rPr>
              <a:t>Lineare Regressionsanalyse</a:t>
            </a:r>
          </a:p>
          <a:p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214689" y="2235722"/>
            <a:ext cx="16562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152320F-9841-164F-AE04-C910D5807B0D}"/>
              </a:ext>
            </a:extLst>
          </p:cNvPr>
          <p:cNvSpPr/>
          <p:nvPr/>
        </p:nvSpPr>
        <p:spPr>
          <a:xfrm>
            <a:off x="7124688" y="1058123"/>
            <a:ext cx="1721639" cy="259862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,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 &amp; AI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277584"/>
            <a:ext cx="8315181" cy="107145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754413"/>
              </p:ext>
            </p:extLst>
          </p:nvPr>
        </p:nvGraphicFramePr>
        <p:xfrm>
          <a:off x="114171" y="1067098"/>
          <a:ext cx="8067402" cy="3943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72028" y="5506707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Konso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104307" y="4489938"/>
            <a:ext cx="686393" cy="117065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72027" y="2278972"/>
            <a:ext cx="652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ditor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924770" y="2432860"/>
            <a:ext cx="865930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1114873"/>
            <a:ext cx="18870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gebung &amp; Histori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08431" y="1422650"/>
            <a:ext cx="406663" cy="8786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22212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Misc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: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Datei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Abbildung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Paket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Hilf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Viewer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93876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12</Words>
  <Application>Microsoft Macintosh PowerPoint</Application>
  <PresentationFormat>Bildschirmpräsentation (4:3)</PresentationFormat>
  <Paragraphs>302</Paragraphs>
  <Slides>17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1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91</cp:revision>
  <cp:lastPrinted>2013-02-22T13:48:11Z</cp:lastPrinted>
  <dcterms:created xsi:type="dcterms:W3CDTF">2017-12-20T06:53:29Z</dcterms:created>
  <dcterms:modified xsi:type="dcterms:W3CDTF">2019-05-03T15:43:03Z</dcterms:modified>
  <cp:version>20140523</cp:version>
</cp:coreProperties>
</file>